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5"/>
  </p:notesMasterIdLst>
  <p:handoutMasterIdLst>
    <p:handoutMasterId r:id="rId56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68" r:id="rId24"/>
    <p:sldId id="369" r:id="rId25"/>
    <p:sldId id="370" r:id="rId26"/>
    <p:sldId id="376" r:id="rId27"/>
    <p:sldId id="371" r:id="rId28"/>
    <p:sldId id="372" r:id="rId29"/>
    <p:sldId id="373" r:id="rId30"/>
    <p:sldId id="374" r:id="rId31"/>
    <p:sldId id="377" r:id="rId32"/>
    <p:sldId id="344" r:id="rId33"/>
    <p:sldId id="323" r:id="rId34"/>
    <p:sldId id="324" r:id="rId35"/>
    <p:sldId id="325" r:id="rId36"/>
    <p:sldId id="347" r:id="rId37"/>
    <p:sldId id="338" r:id="rId38"/>
    <p:sldId id="326" r:id="rId39"/>
    <p:sldId id="327" r:id="rId40"/>
    <p:sldId id="328" r:id="rId41"/>
    <p:sldId id="339" r:id="rId42"/>
    <p:sldId id="329" r:id="rId43"/>
    <p:sldId id="330" r:id="rId44"/>
    <p:sldId id="331" r:id="rId45"/>
    <p:sldId id="346" r:id="rId46"/>
    <p:sldId id="367" r:id="rId47"/>
    <p:sldId id="332" r:id="rId48"/>
    <p:sldId id="333" r:id="rId49"/>
    <p:sldId id="360" r:id="rId50"/>
    <p:sldId id="359" r:id="rId51"/>
    <p:sldId id="361" r:id="rId52"/>
    <p:sldId id="362" r:id="rId53"/>
    <p:sldId id="334" r:id="rId54"/>
  </p:sldIdLst>
  <p:sldSz cx="9144000" cy="6858000" type="screen4x3"/>
  <p:notesSz cx="6858000" cy="9144000"/>
  <p:custDataLst>
    <p:tags r:id="rId5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6"/>
            <p14:sldId id="371"/>
            <p14:sldId id="372"/>
            <p14:sldId id="373"/>
            <p14:sldId id="374"/>
          </p14:sldIdLst>
        </p14:section>
        <p14:section name="Framework Übersicht" id="{042238F7-741C-134A-8732-7C60548F2F03}">
          <p14:sldIdLst>
            <p14:sldId id="377"/>
            <p14:sldId id="34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46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117" d="100"/>
          <a:sy n="117" d="100"/>
        </p:scale>
        <p:origin x="-1384" y="-11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20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notesMaster" Target="notesMasters/notesMaster1.xml"/><Relationship Id="rId56" Type="http://schemas.openxmlformats.org/officeDocument/2006/relationships/handoutMaster" Target="handoutMasters/handoutMaster1.xml"/><Relationship Id="rId57" Type="http://schemas.openxmlformats.org/officeDocument/2006/relationships/printerSettings" Target="printerSettings/printerSettings1.bin"/><Relationship Id="rId58" Type="http://schemas.openxmlformats.org/officeDocument/2006/relationships/tags" Target="tags/tag1.xml"/><Relationship Id="rId59" Type="http://schemas.openxmlformats.org/officeDocument/2006/relationships/presProps" Target="presProp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viewProps" Target="viewProps.xml"/><Relationship Id="rId61" Type="http://schemas.openxmlformats.org/officeDocument/2006/relationships/theme" Target="theme/theme1.xml"/><Relationship Id="rId6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5135816"/>
        <c:axId val="-2064339080"/>
      </c:lineChart>
      <c:catAx>
        <c:axId val="-2055135816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64339080"/>
        <c:crosses val="autoZero"/>
        <c:auto val="1"/>
        <c:lblAlgn val="ctr"/>
        <c:lblOffset val="100"/>
        <c:noMultiLvlLbl val="0"/>
      </c:catAx>
      <c:valAx>
        <c:axId val="-206433908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5513581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5616312"/>
        <c:axId val="-2005613192"/>
      </c:lineChart>
      <c:catAx>
        <c:axId val="-2005616312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05613192"/>
        <c:crosses val="autoZero"/>
        <c:auto val="1"/>
        <c:lblAlgn val="ctr"/>
        <c:lblOffset val="100"/>
        <c:noMultiLvlLbl val="0"/>
      </c:catAx>
      <c:valAx>
        <c:axId val="-2005613192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0561631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6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56495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56495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4555944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0" name="Rechteckige Legende 9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hteckige Legende 10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  <p:sp>
        <p:nvSpPr>
          <p:cNvPr id="13" name="Rechteckige Legende 12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65424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ozer</a:t>
            </a:r>
            <a:r>
              <a:rPr lang="de-DE" dirty="0" smtClean="0"/>
              <a:t> arbeitet mit </a:t>
            </a:r>
            <a:r>
              <a:rPr lang="de-DE" dirty="0" err="1" smtClean="0"/>
              <a:t>Reflection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K</a:t>
            </a:r>
            <a:r>
              <a:rPr lang="de-DE" dirty="0" smtClean="0"/>
              <a:t>omplexe </a:t>
            </a:r>
            <a:r>
              <a:rPr lang="de-DE" dirty="0" err="1" smtClean="0"/>
              <a:t>Mappings</a:t>
            </a:r>
            <a:r>
              <a:rPr lang="de-DE" dirty="0" smtClean="0"/>
              <a:t> können via XML, Annotationen oder einer API defin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</a:t>
            </a:r>
            <a:r>
              <a:rPr lang="de-DE" dirty="0" err="1"/>
              <a:t>Dozer</a:t>
            </a:r>
            <a:r>
              <a:rPr lang="de-DE" dirty="0"/>
              <a:t> als Singleton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Nutze kleinere XML Dateien statt einer XML Datei zur </a:t>
            </a:r>
            <a:r>
              <a:rPr lang="de-DE" dirty="0" err="1"/>
              <a:t>Komponentisierung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dirty="0" smtClean="0"/>
              <a:t>Vorteile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??????????</a:t>
            </a:r>
          </a:p>
          <a:p>
            <a:pPr marL="645750" lvl="2" indent="-285750">
              <a:buFont typeface="Arial"/>
              <a:buChar char="•"/>
            </a:pPr>
            <a:r>
              <a:rPr lang="de-DE" smtClean="0"/>
              <a:t>=??????????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Integration mit Spring ist möglich.</a:t>
            </a:r>
          </a:p>
          <a:p>
            <a:pPr marL="285750" indent="-285750">
              <a:buFont typeface="Arial"/>
              <a:buChar char="•"/>
            </a:pPr>
            <a:endParaRPr lang="de-DE" dirty="0"/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</a:t>
            </a:r>
            <a:r>
              <a:rPr lang="de-DE" dirty="0" err="1" smtClean="0"/>
              <a:t>Collections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Nur das Mapping via XML ist gut dokumentiert, aber zusätzliche </a:t>
            </a:r>
            <a:r>
              <a:rPr lang="de-DE" dirty="0"/>
              <a:t>Verwaltung von XML-Dateien </a:t>
            </a:r>
            <a:r>
              <a:rPr lang="de-DE" dirty="0" smtClean="0"/>
              <a:t>nötig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Mapping von null führt zu Fehler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155676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155682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ist möglich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gen &amp; Antworten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4214</Words>
  <Application>Microsoft Macintosh PowerPoint</Application>
  <PresentationFormat>Bildschirmpräsentation (4:3)</PresentationFormat>
  <Paragraphs>1426</Paragraphs>
  <Slides>53</Slides>
  <Notes>1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55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PowerPoint-Präsentation</vt:lpstr>
      <vt:lpstr>Der Code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Übersicht Frameworks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49</cp:revision>
  <dcterms:created xsi:type="dcterms:W3CDTF">2013-03-01T11:14:45Z</dcterms:created>
  <dcterms:modified xsi:type="dcterms:W3CDTF">2014-10-16T08:14:46Z</dcterms:modified>
</cp:coreProperties>
</file>